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ink/ink1.xml" ContentType="application/inkml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0" r:id="rId1"/>
  </p:sldMasterIdLst>
  <p:notesMasterIdLst>
    <p:notesMasterId r:id="rId19"/>
  </p:notesMasterIdLst>
  <p:handoutMasterIdLst>
    <p:handoutMasterId r:id="rId20"/>
  </p:handoutMasterIdLst>
  <p:sldIdLst>
    <p:sldId id="468" r:id="rId2"/>
    <p:sldId id="582" r:id="rId3"/>
    <p:sldId id="584" r:id="rId4"/>
    <p:sldId id="583" r:id="rId5"/>
    <p:sldId id="585" r:id="rId6"/>
    <p:sldId id="591" r:id="rId7"/>
    <p:sldId id="592" r:id="rId8"/>
    <p:sldId id="593" r:id="rId9"/>
    <p:sldId id="586" r:id="rId10"/>
    <p:sldId id="587" r:id="rId11"/>
    <p:sldId id="588" r:id="rId12"/>
    <p:sldId id="594" r:id="rId13"/>
    <p:sldId id="589" r:id="rId14"/>
    <p:sldId id="279" r:id="rId15"/>
    <p:sldId id="300" r:id="rId16"/>
    <p:sldId id="301" r:id="rId17"/>
    <p:sldId id="595" r:id="rId18"/>
  </p:sldIdLst>
  <p:sldSz cx="9144000" cy="6858000" type="screen4x3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6962" autoAdjust="0"/>
    <p:restoredTop sz="99497" autoAdjust="0"/>
  </p:normalViewPr>
  <p:slideViewPr>
    <p:cSldViewPr snapToGrid="0" snapToObjects="1">
      <p:cViewPr varScale="1">
        <p:scale>
          <a:sx n="67" d="100"/>
          <a:sy n="67" d="100"/>
        </p:scale>
        <p:origin x="1208" y="56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200" d="100"/>
        <a:sy n="200" d="100"/>
      </p:scale>
      <p:origin x="0" y="0"/>
    </p:cViewPr>
  </p:sorterViewPr>
  <p:notesViewPr>
    <p:cSldViewPr snapToGrid="0" snapToObjects="1">
      <p:cViewPr varScale="1">
        <p:scale>
          <a:sx n="84" d="100"/>
          <a:sy n="84" d="100"/>
        </p:scale>
        <p:origin x="-3880" y="-120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" Type="http://schemas.openxmlformats.org/officeDocument/2006/relationships/slide" Target="slides/slide2.xml"/><Relationship Id="rId21" Type="http://schemas.openxmlformats.org/officeDocument/2006/relationships/presProps" Target="pres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handoutMaster" Target="handoutMasters/handout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viewProps" Target="view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BC6C0CF-EF7B-F44F-9E10-A7458CF31E0D}" type="datetimeFigureOut">
              <a:rPr lang="en-US" smtClean="0"/>
              <a:pPr/>
              <a:t>7/23/2021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72DADF4-2B27-6146-9315-F950E2AABB1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1869632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ink/ink1.xml><?xml version="1.0" encoding="utf-8"?>
<inkml:ink xmlns:inkml="http://www.w3.org/2003/InkML">
  <inkml:definitions>
    <inkml:context xml:id="ctx0">
      <inkml:inkSource xml:id="inkSrc0">
        <inkml:traceFormat>
          <inkml:channel name="X" type="integer" max="1920" units="cm"/>
          <inkml:channel name="Y" type="integer" max="1080" units="cm"/>
          <inkml:channel name="T" type="integer" max="2.14748E9" units="dev"/>
        </inkml:traceFormat>
        <inkml:channelProperties>
          <inkml:channelProperty channel="X" name="resolution" value="65.52901" units="1/cm"/>
          <inkml:channelProperty channel="Y" name="resolution" value="65.45454" units="1/cm"/>
          <inkml:channelProperty channel="T" name="resolution" value="1" units="1/dev"/>
        </inkml:channelProperties>
      </inkml:inkSource>
      <inkml:timestamp xml:id="ts0" timeString="2020-09-09T04:11:24.737"/>
    </inkml:context>
    <inkml:brush xml:id="br0">
      <inkml:brushProperty name="width" value="0.05292" units="cm"/>
      <inkml:brushProperty name="height" value="0.05292" units="cm"/>
      <inkml:brushProperty name="color" value="#FF0000"/>
    </inkml:brush>
  </inkml:definitions>
  <inkml:trace contextRef="#ctx0" brushRef="#br0">3405 12277 0</inkml:trace>
  <inkml:trace contextRef="#ctx0" brushRef="#br0" timeOffset="124.68">3405 12277 0</inkml:trace>
  <inkml:trace contextRef="#ctx0" brushRef="#br0" timeOffset="2394.23">3405 12277 0,'0'35'516,"0"0"-500,0 1-1,0-1-15,0 18 0,0-36 16,0 1-16,0 0 15,0-1-15,0 1 16,0 0 0,0 17-16,17-35 47,1 0-16,0 0 16,-1 0-16,1-35-31,17-1 16,0 1-16,1-88 15,17 34-15,-18 36 16,-17 0-16,52-17 15,-52 35-15,-1-1 0,1 1 16,-18 17-16,0 71 156,0-17-140,0-1-16,0 0 16,0 0-16,0 1 15,0-1-15,0-17 16,0-1-16,0 1 15,0 17-15,0-17 16,0 0-16,0-1 16,0 1-1,0-1-15,0 1 16,0 0-16,0-1 0,0 1 16,0 0-16,0-1 15,0 1-15,0 0 16,0-1-16,0 1 31,0-1 32,0-34 187,0-1-219,0 1-16,18 17-15,-18-18 16,0 0-16,0 1 31,17-1-31,-17 0 16,0-17 0,18 17-16,-18 1 0,0-1 15,0 1-15,0-1 31,18 0 344,17 1-375</inkml:trace>
  <inkml:trace contextRef="#ctx0" brushRef="#br0" timeOffset="3868.79">4022 12083 0,'0'17'297,"0"19"-281,0 16-16,0 1 16,0-35-16,0 17 15,0-17 1,0 0-16,0 35 15,0-36-15,0 1 16,0-1-16,0 1 16,0 0-16,0-1 15,0 1-15,0 17 16,0-17-16,0 0 16,0-1-1,0 1-15,0-1 16,0 1-16,0 0 15,0 17 1</inkml:trace>
  <inkml:trace contextRef="#ctx0" brushRef="#br0" timeOffset="5745.85">4022 12206 0,'0'-35'203,"0"17"-188,0 1-15,0-1 0,0 0 16,0 1-16,0-1 16,0 0-16,0 1 15,0-1-15,0 0 16,0 1 0,18-1 15,-1 18-31,1 0 15,-18-17 1,18 17-16,-1-36 16,1 36 31,-1 0-16,19 0 31,-36 18-30,0 0-17,0-1 48,0 1-48,0-1 1,0 1 0,0 0-1,0-1 1,0 1-16,-18-18 15,18 18-15,-18-1 16,18 1 0,-17 17-16,17-17 15,0-1 1,0 1 0,-18-18-1,18 18-15,-17-1 16,-1 1-1,0-18-15,1 0 16,17 18 0,0-1-1</inkml:trace>
  <inkml:trace contextRef="#ctx0" brushRef="#br0" timeOffset="8573.91">4304 12259 0,'0'-18'312,"0"1"-218,0-1-47,36-17-47,16-53 15,-16 52-15,-19 1 0,36 17 16,-53 1-16,18-1 16,-18 1 31,0-19 31,18 36-78,-18-17 62,0-1 1,0 0-32,0 1-31,0-1 31,-18 18-15,-17 0-1,17 0 1,0 0-16,1 0 16,-1 0-16,0 0 15,1 0 1,-1 0-16,1 0 16,-19 0-16,19 0 15,-1 0 1,0 0-1,1 0-15,17 18 32,0-1-32,-18-17 15,18 18 1,-18 0 0,18 17-1,0-17 16,0-1 63,0 1-63,0-1-15,0 1 31,0 0-31,0-1-1,0 19 16,0-19-31,18 1 16,0 0-16,-1-1 16,1 1-16,0-1 15,17 1 1,-17 17-16,-1-17 16,1 0-16,-1-1 0,-17 1 15,18-18-15,-18 18 16,0-1-16,18 1 15,-1 0-15,-17-1 16,18 1-16,17-18 16,-35 17-1,18 1-15,0 0 16,-18-1-16,0 1 16,17 17-16,1-35 15,-1 0-15,1 0 16,-18 18-1,18-18 1,17 0 15,-17 0 1,-1 0-17,1 0 1,0 0-1,-1-35 1,-17 17 0,18 0-16,-18 1 31,0-1-15,0 0 15,17 18-31,-17-17 15,0-1 1,36 18-16,-36-17 16,0-1-1,0 0-15,0 1 16,17 17 15,-17-18-15,18 18 31</inkml:trace>
</inkml:ink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3E7487E-3E2A-B343-B16F-C8BE0BCA607A}" type="datetimeFigureOut">
              <a:rPr lang="en-US" smtClean="0"/>
              <a:pPr/>
              <a:t>7/23/2021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0A28A79-60B8-9040-9417-3C6DCDDD5661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29629597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IN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9D9F3A-442F-9946-8393-7F08EF3FBE61}" type="datetime1">
              <a:rPr lang="en-IN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23-07-2021</a:t>
            </a:fld>
            <a:endParaRPr lang="en-IN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567806B-2C15-4732-8BE4-466CDA07A21C}" type="slidenum">
              <a:rPr lang="en-IN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#›</a:t>
            </a:fld>
            <a:endParaRPr lang="en-IN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04613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7F6880F-E560-6D4A-A057-1134F2A3278D}" type="datetime1">
              <a:rPr lang="en-IN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23-07-2021</a:t>
            </a:fld>
            <a:endParaRPr lang="en-IN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567806B-2C15-4732-8BE4-466CDA07A21C}" type="slidenum">
              <a:rPr lang="en-IN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#›</a:t>
            </a:fld>
            <a:endParaRPr lang="en-IN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406658285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A2FE44-8FAE-5349-BD70-DD61E84BB649}" type="datetime1">
              <a:rPr lang="en-IN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23-07-2021</a:t>
            </a:fld>
            <a:endParaRPr lang="en-IN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567806B-2C15-4732-8BE4-466CDA07A21C}" type="slidenum">
              <a:rPr lang="en-IN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#›</a:t>
            </a:fld>
            <a:endParaRPr lang="en-IN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413731327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>
            <a:lvl1pPr>
              <a:defRPr sz="2000">
                <a:latin typeface="Avenir Book"/>
                <a:cs typeface="Avenir Book"/>
              </a:defRPr>
            </a:lvl1pPr>
            <a:lvl2pPr>
              <a:defRPr sz="2000">
                <a:latin typeface="Avenir Book"/>
                <a:cs typeface="Avenir Book"/>
              </a:defRPr>
            </a:lvl2pPr>
            <a:lvl3pPr>
              <a:defRPr sz="2000">
                <a:latin typeface="Avenir Book"/>
                <a:cs typeface="Avenir Book"/>
              </a:defRPr>
            </a:lvl3pPr>
            <a:lvl4pPr>
              <a:defRPr sz="2000">
                <a:latin typeface="Avenir Book"/>
                <a:cs typeface="Avenir Book"/>
              </a:defRPr>
            </a:lvl4pPr>
            <a:lvl5pPr>
              <a:defRPr sz="2000">
                <a:latin typeface="Avenir Book"/>
                <a:cs typeface="Avenir Book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21762"/>
            <a:ext cx="2133600" cy="365125"/>
          </a:xfrm>
        </p:spPr>
        <p:txBody>
          <a:bodyPr/>
          <a:lstStyle/>
          <a:p>
            <a:fld id="{7AFFD411-8B4E-F64D-B6BB-1BD141EF8626}" type="datetime1">
              <a:rPr lang="en-IN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23-07-2021</a:t>
            </a:fld>
            <a:endParaRPr lang="en-IN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21762"/>
            <a:ext cx="2133600" cy="365125"/>
          </a:xfrm>
        </p:spPr>
        <p:txBody>
          <a:bodyPr/>
          <a:lstStyle/>
          <a:p>
            <a:fld id="{1567806B-2C15-4732-8BE4-466CDA07A21C}" type="slidenum">
              <a:rPr lang="en-IN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#›</a:t>
            </a:fld>
            <a:endParaRPr lang="en-IN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8" name="Title 3"/>
          <p:cNvSpPr txBox="1">
            <a:spLocks/>
          </p:cNvSpPr>
          <p:nvPr userDrawn="1"/>
        </p:nvSpPr>
        <p:spPr>
          <a:xfrm>
            <a:off x="-24967" y="-27384"/>
            <a:ext cx="9180512" cy="1143000"/>
          </a:xfrm>
          <a:prstGeom prst="rect">
            <a:avLst/>
          </a:prstGeom>
          <a:solidFill>
            <a:srgbClr val="1A1529"/>
          </a:solidFill>
        </p:spPr>
        <p:txBody>
          <a:bodyPr vert="horz" lIns="91440" tIns="45720" rIns="91440" bIns="45720" rtlCol="0" anchor="ctr">
            <a:normAutofit/>
          </a:bodyPr>
          <a:lstStyle/>
          <a:p>
            <a:pPr defTabSz="914400">
              <a:spcBef>
                <a:spcPct val="0"/>
              </a:spcBef>
              <a:defRPr/>
            </a:pPr>
            <a:endParaRPr lang="en-IN" sz="4000" dirty="0">
              <a:solidFill>
                <a:prstClr val="white"/>
              </a:solidFill>
              <a:latin typeface="Raleway medium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-27384"/>
            <a:ext cx="8229600" cy="1143000"/>
          </a:xfrm>
        </p:spPr>
        <p:txBody>
          <a:bodyPr>
            <a:normAutofit/>
          </a:bodyPr>
          <a:lstStyle>
            <a:lvl1pPr algn="l">
              <a:defRPr sz="3200">
                <a:solidFill>
                  <a:schemeClr val="bg1"/>
                </a:solidFill>
                <a:latin typeface="Avenir Book"/>
                <a:cs typeface="Avenir Book"/>
              </a:defRPr>
            </a:lvl1pPr>
          </a:lstStyle>
          <a:p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90277922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04174CD-F6CE-864D-86C1-1A58D6E9B31F}" type="datetime1">
              <a:rPr lang="en-IN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23-07-2021</a:t>
            </a:fld>
            <a:endParaRPr lang="en-IN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567806B-2C15-4732-8BE4-466CDA07A21C}" type="slidenum">
              <a:rPr lang="en-IN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#›</a:t>
            </a:fld>
            <a:endParaRPr lang="en-IN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62744022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D41D608-0E84-0B43-86BE-8FE2D7E94BC2}" type="datetime1">
              <a:rPr lang="en-IN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23-07-2021</a:t>
            </a:fld>
            <a:endParaRPr lang="en-IN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567806B-2C15-4732-8BE4-466CDA07A21C}" type="slidenum">
              <a:rPr lang="en-IN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#›</a:t>
            </a:fld>
            <a:endParaRPr lang="en-IN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67755642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A4AFDDB-9DAB-A146-A957-FB239AFE4C5F}" type="datetime1">
              <a:rPr lang="en-IN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23-07-2021</a:t>
            </a:fld>
            <a:endParaRPr lang="en-IN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567806B-2C15-4732-8BE4-466CDA07A21C}" type="slidenum">
              <a:rPr lang="en-IN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#›</a:t>
            </a:fld>
            <a:endParaRPr lang="en-IN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68226986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38B3B8-123E-9C46-B33D-1E0B5CACDBF3}" type="datetime1">
              <a:rPr lang="en-IN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23-07-2021</a:t>
            </a:fld>
            <a:endParaRPr lang="en-IN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567806B-2C15-4732-8BE4-466CDA07A21C}" type="slidenum">
              <a:rPr lang="en-IN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#›</a:t>
            </a:fld>
            <a:endParaRPr lang="en-IN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32613856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BA176E-49F4-574B-AA14-24D48A1235AC}" type="datetime1">
              <a:rPr lang="en-IN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23-07-2021</a:t>
            </a:fld>
            <a:endParaRPr lang="en-IN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567806B-2C15-4732-8BE4-466CDA07A21C}" type="slidenum">
              <a:rPr lang="en-IN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#›</a:t>
            </a:fld>
            <a:endParaRPr lang="en-IN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15474324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F5EC7D7-EAC2-7B40-87A3-F154AD7FB040}" type="datetime1">
              <a:rPr lang="en-IN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23-07-2021</a:t>
            </a:fld>
            <a:endParaRPr lang="en-IN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567806B-2C15-4732-8BE4-466CDA07A21C}" type="slidenum">
              <a:rPr lang="en-IN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#›</a:t>
            </a:fld>
            <a:endParaRPr lang="en-IN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54789937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IN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FC2C27-C510-8D4D-A2BF-6F891D3254C4}" type="datetime1">
              <a:rPr lang="en-IN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23-07-2021</a:t>
            </a:fld>
            <a:endParaRPr lang="en-IN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567806B-2C15-4732-8BE4-466CDA07A21C}" type="slidenum">
              <a:rPr lang="en-IN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#›</a:t>
            </a:fld>
            <a:endParaRPr lang="en-IN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15265341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258427700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360" imgH="360" progId="">
                  <p:embed/>
                </p:oleObj>
              </mc:Choice>
              <mc:Fallback>
                <p:oleObj name="think-cell Slide" r:id="rId14" imgW="360" imgH="360" progId="">
                  <p:embed/>
                  <p:pic>
                    <p:nvPicPr>
                      <p:cNvPr id="0" name="Picture 96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400"/>
            <a:fld id="{C7EDE288-423F-1A48-9DB7-511D0EEE5D2C}" type="datetime1">
              <a:rPr lang="en-IN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 defTabSz="914400"/>
              <a:t>23-07-2021</a:t>
            </a:fld>
            <a:endParaRPr lang="en-IN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400"/>
            <a:endParaRPr lang="en-IN" dirty="0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400"/>
            <a:fld id="{1567806B-2C15-4732-8BE4-466CDA07A21C}" type="slidenum">
              <a:rPr lang="en-IN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 defTabSz="914400"/>
              <a:t>‹#›</a:t>
            </a:fld>
            <a:endParaRPr lang="en-IN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14909319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Avenir Book"/>
          <a:ea typeface="+mj-ea"/>
          <a:cs typeface="Avenir Book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Avenir Book"/>
          <a:ea typeface="+mn-ea"/>
          <a:cs typeface="Avenir Book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Avenir Book"/>
          <a:ea typeface="+mn-ea"/>
          <a:cs typeface="Avenir Book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Avenir Book"/>
          <a:ea typeface="+mn-ea"/>
          <a:cs typeface="Avenir Book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Avenir Book"/>
          <a:ea typeface="+mn-ea"/>
          <a:cs typeface="Avenir Book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Avenir Book"/>
          <a:ea typeface="+mn-ea"/>
          <a:cs typeface="Avenir Book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hyperlink" Target="http://www.webopedia.com/TERM/M/Microsoft.html" TargetMode="External"/><Relationship Id="rId2" Type="http://schemas.openxmlformats.org/officeDocument/2006/relationships/hyperlink" Target="http://www.webopedia.com/TERM/P/program.html" TargetMode="External"/><Relationship Id="rId1" Type="http://schemas.openxmlformats.org/officeDocument/2006/relationships/slideLayout" Target="../slideLayouts/slideLayout2.xml"/><Relationship Id="rId4" Type="http://schemas.openxmlformats.org/officeDocument/2006/relationships/hyperlink" Target="http://www.webopedia.com/TERM/A/application.html" TargetMode="Externa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customXml" Target="../ink/ink1.xml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.emf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3"/>
          <p:cNvSpPr txBox="1">
            <a:spLocks/>
          </p:cNvSpPr>
          <p:nvPr/>
        </p:nvSpPr>
        <p:spPr>
          <a:xfrm>
            <a:off x="-10160" y="1493912"/>
            <a:ext cx="9180512" cy="5364088"/>
          </a:xfrm>
          <a:prstGeom prst="rect">
            <a:avLst/>
          </a:prstGeom>
          <a:solidFill>
            <a:schemeClr val="tx1"/>
          </a:solidFill>
        </p:spPr>
        <p:txBody>
          <a:bodyPr vert="horz" lIns="91440" tIns="45720" rIns="91440" bIns="45720" rtlCol="0" anchor="ctr">
            <a:normAutofit/>
          </a:bodyPr>
          <a:lstStyle/>
          <a:p>
            <a:pPr defTabSz="914400">
              <a:spcBef>
                <a:spcPct val="0"/>
              </a:spcBef>
              <a:defRPr/>
            </a:pPr>
            <a:endParaRPr lang="en-IN" sz="4000" dirty="0">
              <a:solidFill>
                <a:prstClr val="white"/>
              </a:solidFill>
              <a:latin typeface="Raleway medium" pitchFamily="34" charset="0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-453585" y="3503056"/>
            <a:ext cx="18466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914400"/>
            <a:endParaRPr lang="en-US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62795" y="2679055"/>
            <a:ext cx="8282115" cy="1470025"/>
          </a:xfrm>
          <a:solidFill>
            <a:schemeClr val="tx1"/>
          </a:solidFill>
        </p:spPr>
        <p:txBody>
          <a:bodyPr>
            <a:noAutofit/>
          </a:bodyPr>
          <a:lstStyle/>
          <a:p>
            <a:pPr>
              <a:lnSpc>
                <a:spcPct val="120000"/>
              </a:lnSpc>
            </a:pPr>
            <a:r>
              <a:rPr lang="en-IN" sz="4000" dirty="0">
                <a:solidFill>
                  <a:schemeClr val="bg1"/>
                </a:solidFill>
                <a:latin typeface="Arial"/>
                <a:cs typeface="Arial"/>
              </a:rPr>
              <a:t>What is .NET?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567806B-2C15-4732-8BE4-466CDA07A21C}" type="slidenum">
              <a:rPr lang="en-IN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1</a:t>
            </a:fld>
            <a:endParaRPr lang="en-IN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07939073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10000"/>
          </a:bodyPr>
          <a:lstStyle/>
          <a:p>
            <a:pPr marL="441325" indent="-441325">
              <a:defRPr/>
            </a:pPr>
            <a:r>
              <a:rPr lang="en-US" sz="2800" dirty="0">
                <a:latin typeface="+mn-lt"/>
              </a:rPr>
              <a:t>Common Language Runtime</a:t>
            </a:r>
          </a:p>
          <a:p>
            <a:pPr marL="993775" lvl="1" indent="-363538">
              <a:defRPr/>
            </a:pPr>
            <a:r>
              <a:rPr lang="en-US" sz="2800" dirty="0">
                <a:latin typeface="+mn-lt"/>
              </a:rPr>
              <a:t>Garbage collection</a:t>
            </a:r>
          </a:p>
          <a:p>
            <a:pPr marL="993775" lvl="1" indent="-363538">
              <a:defRPr/>
            </a:pPr>
            <a:r>
              <a:rPr lang="en-US" sz="2800" dirty="0">
                <a:latin typeface="+mn-lt"/>
              </a:rPr>
              <a:t>Language integration</a:t>
            </a:r>
          </a:p>
          <a:p>
            <a:pPr marL="993775" lvl="1" indent="-363538">
              <a:defRPr/>
            </a:pPr>
            <a:r>
              <a:rPr lang="en-US" sz="2800" dirty="0">
                <a:latin typeface="+mn-lt"/>
              </a:rPr>
              <a:t>Multiple versioning support </a:t>
            </a:r>
          </a:p>
          <a:p>
            <a:pPr marL="630237" lvl="1" indent="0">
              <a:buFontTx/>
              <a:buNone/>
              <a:defRPr/>
            </a:pPr>
            <a:r>
              <a:rPr lang="en-US" sz="2800" dirty="0">
                <a:latin typeface="+mn-lt"/>
              </a:rPr>
              <a:t>                  (no more DLL hell!)</a:t>
            </a:r>
          </a:p>
          <a:p>
            <a:pPr marL="993775" lvl="1" indent="-363538">
              <a:defRPr/>
            </a:pPr>
            <a:r>
              <a:rPr lang="en-US" sz="2800" dirty="0">
                <a:latin typeface="+mn-lt"/>
              </a:rPr>
              <a:t>Integrated security</a:t>
            </a:r>
          </a:p>
          <a:p>
            <a:pPr marL="993775" lvl="1" indent="-363538">
              <a:defRPr/>
            </a:pPr>
            <a:r>
              <a:rPr lang="en-US" sz="2800" dirty="0">
                <a:latin typeface="+mn-lt"/>
              </a:rPr>
              <a:t>Managed code and unmanaged code</a:t>
            </a:r>
          </a:p>
          <a:p>
            <a:pPr marL="630237" lvl="1" indent="0">
              <a:buNone/>
              <a:defRPr/>
            </a:pPr>
            <a:r>
              <a:rPr lang="en-US" sz="2800" dirty="0">
                <a:latin typeface="+mn-lt"/>
              </a:rPr>
              <a:t>Managed Code-code that executes under the control of runtime </a:t>
            </a:r>
          </a:p>
          <a:p>
            <a:pPr marL="630237" lvl="1" indent="0">
              <a:buNone/>
              <a:defRPr/>
            </a:pPr>
            <a:r>
              <a:rPr lang="en-US" sz="2800" dirty="0" err="1">
                <a:latin typeface="+mn-lt"/>
              </a:rPr>
              <a:t>UnManagedCode</a:t>
            </a:r>
            <a:r>
              <a:rPr lang="en-US" sz="2800" dirty="0">
                <a:latin typeface="+mn-lt"/>
              </a:rPr>
              <a:t> –code that runs outside the runtime  </a:t>
            </a:r>
          </a:p>
          <a:p>
            <a:endParaRPr lang="en-IN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567806B-2C15-4732-8BE4-466CDA07A21C}" type="slidenum">
              <a:rPr lang="en-IN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10</a:t>
            </a:fld>
            <a:endParaRPr lang="en-IN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/>
              <a:t>Common Language Runtime</a:t>
            </a:r>
          </a:p>
        </p:txBody>
      </p:sp>
    </p:spTree>
    <p:extLst>
      <p:ext uri="{BB962C8B-B14F-4D97-AF65-F5344CB8AC3E}">
        <p14:creationId xmlns:p14="http://schemas.microsoft.com/office/powerpoint/2010/main" val="272211271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441325" indent="-441325">
              <a:defRPr/>
            </a:pPr>
            <a:r>
              <a:rPr lang="en-US" sz="2800" dirty="0">
                <a:latin typeface="+mn-lt"/>
              </a:rPr>
              <a:t>Framework Class Library</a:t>
            </a:r>
          </a:p>
          <a:p>
            <a:pPr marL="630237" lvl="1" indent="0">
              <a:buNone/>
              <a:defRPr/>
            </a:pPr>
            <a:r>
              <a:rPr lang="en-US" sz="2800">
                <a:latin typeface="+mn-lt"/>
              </a:rPr>
              <a:t>    Provides </a:t>
            </a:r>
            <a:r>
              <a:rPr lang="en-US" sz="2800" dirty="0">
                <a:latin typeface="+mn-lt"/>
              </a:rPr>
              <a:t>the core functionality:</a:t>
            </a:r>
          </a:p>
          <a:p>
            <a:pPr marL="993775" lvl="1" indent="-363538">
              <a:buFont typeface="Wingdings" panose="05000000000000000000" pitchFamily="2" charset="2"/>
              <a:buNone/>
              <a:defRPr/>
            </a:pPr>
            <a:r>
              <a:rPr lang="en-US" sz="2800" dirty="0">
                <a:latin typeface="+mn-lt"/>
              </a:rPr>
              <a:t>	ASP.NET, Web Services, ADO.NET, Windows Forms, IO, XML, etc.</a:t>
            </a:r>
          </a:p>
          <a:p>
            <a:endParaRPr lang="en-IN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567806B-2C15-4732-8BE4-466CDA07A21C}" type="slidenum">
              <a:rPr lang="en-IN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11</a:t>
            </a:fld>
            <a:endParaRPr lang="en-IN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/>
              <a:t>Framework Class Library</a:t>
            </a:r>
          </a:p>
        </p:txBody>
      </p:sp>
    </p:spTree>
    <p:extLst>
      <p:ext uri="{BB962C8B-B14F-4D97-AF65-F5344CB8AC3E}">
        <p14:creationId xmlns:p14="http://schemas.microsoft.com/office/powerpoint/2010/main" val="313241369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endParaRPr lang="en-US" sz="2800" dirty="0">
              <a:latin typeface="+mn-lt"/>
              <a:cs typeface="Arial"/>
            </a:endParaRPr>
          </a:p>
          <a:p>
            <a:endParaRPr lang="en-US" sz="2800" dirty="0">
              <a:latin typeface="+mn-lt"/>
              <a:cs typeface="Arial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567806B-2C15-4732-8BE4-466CDA07A21C}" type="slidenum">
              <a:rPr lang="en-IN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12</a:t>
            </a:fld>
            <a:endParaRPr lang="en-IN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Arial"/>
                <a:cs typeface="Arial"/>
              </a:rPr>
              <a:t>C# Code Compilation</a:t>
            </a:r>
          </a:p>
        </p:txBody>
      </p:sp>
      <p:pic>
        <p:nvPicPr>
          <p:cNvPr id="6" name="Content Placeholder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799431" y="1404600"/>
            <a:ext cx="5545138" cy="49171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6966216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endParaRPr lang="en-US" sz="2800" dirty="0">
              <a:latin typeface="+mn-lt"/>
              <a:cs typeface="Arial"/>
            </a:endParaRPr>
          </a:p>
          <a:p>
            <a:endParaRPr lang="en-US" sz="2800" dirty="0">
              <a:latin typeface="+mn-lt"/>
              <a:cs typeface="Arial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567806B-2C15-4732-8BE4-466CDA07A21C}" type="slidenum">
              <a:rPr lang="en-IN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13</a:t>
            </a:fld>
            <a:endParaRPr lang="en-IN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Arial"/>
                <a:cs typeface="Arial"/>
              </a:rPr>
              <a:t> Why .NET? – Points from Suresh</a:t>
            </a:r>
          </a:p>
        </p:txBody>
      </p:sp>
      <p:sp>
        <p:nvSpPr>
          <p:cNvPr id="5" name="Rounded Rectangle 4"/>
          <p:cNvSpPr/>
          <p:nvPr/>
        </p:nvSpPr>
        <p:spPr>
          <a:xfrm>
            <a:off x="4295631" y="1778001"/>
            <a:ext cx="4187536" cy="3771900"/>
          </a:xfrm>
          <a:prstGeom prst="roundRect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IN" sz="2800" dirty="0"/>
              <a:t>.NET is a framework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IN" sz="2800" dirty="0"/>
              <a:t>CLR – Common Language Runtim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IN" sz="2800" dirty="0"/>
              <a:t>FCL – Framework Class Librar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IN" sz="2800" dirty="0"/>
              <a:t>Visual Studio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IN" sz="2800" dirty="0"/>
              <a:t>Language Integrat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IN" sz="2800" dirty="0"/>
          </a:p>
          <a:p>
            <a:pPr algn="ctr"/>
            <a:endParaRPr lang="en-IN" dirty="0"/>
          </a:p>
        </p:txBody>
      </p:sp>
      <p:pic>
        <p:nvPicPr>
          <p:cNvPr id="2050" name="Picture 2" descr="http://thinkoutsidethepiggybank.typepad.com/.a/6a00e5522004338834019104d341be970c-pi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3998" y="2146300"/>
            <a:ext cx="3670301" cy="36703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7" name="Straight Connector 6"/>
          <p:cNvCxnSpPr/>
          <p:nvPr/>
        </p:nvCxnSpPr>
        <p:spPr>
          <a:xfrm flipH="1">
            <a:off x="1984875" y="1768884"/>
            <a:ext cx="104273" cy="477983"/>
          </a:xfrm>
          <a:prstGeom prst="line">
            <a:avLst/>
          </a:prstGeom>
          <a:ln w="12700" cmpd="sng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Box 5"/>
          <p:cNvSpPr txBox="1"/>
          <p:nvPr/>
        </p:nvSpPr>
        <p:spPr>
          <a:xfrm>
            <a:off x="838200" y="1361453"/>
            <a:ext cx="395172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Why should I use .NET for this web app?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27080293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		Assemblies 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dirty="0"/>
              <a:t>Any </a:t>
            </a:r>
            <a:r>
              <a:rPr lang="en-US" dirty="0" err="1"/>
              <a:t>.Net</a:t>
            </a:r>
            <a:r>
              <a:rPr lang="en-US" dirty="0"/>
              <a:t> Application on compilation gives assembly files(.dll or .exe)</a:t>
            </a:r>
          </a:p>
          <a:p>
            <a:r>
              <a:rPr lang="en-US" dirty="0"/>
              <a:t>Assemblies are fundamental unit of deployment, version control, reuse and security for a </a:t>
            </a:r>
            <a:r>
              <a:rPr lang="en-US" dirty="0" err="1"/>
              <a:t>.net</a:t>
            </a:r>
            <a:r>
              <a:rPr lang="en-US" dirty="0"/>
              <a:t> application.</a:t>
            </a:r>
          </a:p>
          <a:p>
            <a:r>
              <a:rPr lang="en-US" dirty="0"/>
              <a:t>Assembly contains – PE Header, CLR Header, Manifest and IL</a:t>
            </a:r>
          </a:p>
          <a:p>
            <a:r>
              <a:rPr lang="en-US" dirty="0"/>
              <a:t>Manifest files contain metadata</a:t>
            </a:r>
          </a:p>
          <a:p>
            <a:r>
              <a:rPr lang="en-US" dirty="0"/>
              <a:t>Assemblies can be private or shared</a:t>
            </a:r>
          </a:p>
          <a:p>
            <a:r>
              <a:rPr lang="en-US" dirty="0"/>
              <a:t>Shared Assemblies are placed in GAC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2588702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ssemblies </a:t>
            </a:r>
            <a:r>
              <a:rPr lang="en-US" dirty="0" err="1"/>
              <a:t>contd</a:t>
            </a:r>
            <a:r>
              <a:rPr lang="en-US" dirty="0"/>
              <a:t>….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Some information in the assembly manifest can be modified using attributes</a:t>
            </a:r>
          </a:p>
          <a:p>
            <a:r>
              <a:rPr lang="en-US" dirty="0"/>
              <a:t>We use ILDASM to peek into the assembly Manifest and IL file. We can use this tool to export the same to a text file.</a:t>
            </a:r>
          </a:p>
          <a:p>
            <a:r>
              <a:rPr lang="en-US" dirty="0"/>
              <a:t>We use ILASM to reconstruct an assembly from the text file into assembly Manifest and the IL.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3079016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Global Assembly Cach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Machine wide central repository of assemblies</a:t>
            </a:r>
          </a:p>
          <a:p>
            <a:r>
              <a:rPr lang="en-US" dirty="0"/>
              <a:t>Assemblies in GAC must be strongly named</a:t>
            </a:r>
          </a:p>
          <a:p>
            <a:r>
              <a:rPr lang="en-US" dirty="0"/>
              <a:t>Strong name consists of simple text name, version number, and culture information(if provided), a public key and a digital signature</a:t>
            </a:r>
          </a:p>
          <a:p>
            <a:r>
              <a:rPr lang="en-US" dirty="0"/>
              <a:t> </a:t>
            </a:r>
            <a:r>
              <a:rPr lang="en-US" dirty="0" err="1"/>
              <a:t>gacutil</a:t>
            </a:r>
            <a:r>
              <a:rPr lang="en-US" dirty="0"/>
              <a:t> / </a:t>
            </a:r>
            <a:r>
              <a:rPr lang="en-US" dirty="0" err="1"/>
              <a:t>i</a:t>
            </a:r>
            <a:r>
              <a:rPr lang="en-US" dirty="0"/>
              <a:t> for installing and / u for uninstalling</a:t>
            </a:r>
          </a:p>
        </p:txBody>
      </p:sp>
    </p:spTree>
    <p:extLst>
      <p:ext uri="{BB962C8B-B14F-4D97-AF65-F5344CB8AC3E}">
        <p14:creationId xmlns:p14="http://schemas.microsoft.com/office/powerpoint/2010/main" val="3303847201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53B92CCD-AD9E-4C36-BAEC-A83C90241EF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BF89234-83B9-4F07-ADFC-588B486D52A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567806B-2C15-4732-8BE4-466CDA07A21C}" type="slidenum">
              <a:rPr lang="en-IN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17</a:t>
            </a:fld>
            <a:endParaRPr lang="en-IN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FD96E8D0-0019-4777-8085-37FA5B6A38B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68801145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sz="2800" dirty="0">
                <a:latin typeface="+mn-lt"/>
              </a:rPr>
              <a:t>NET is the Microsoft Web services strategy to connect</a:t>
            </a:r>
          </a:p>
          <a:p>
            <a:pPr lvl="1"/>
            <a:r>
              <a:rPr lang="en-US" sz="2800" dirty="0"/>
              <a:t>information</a:t>
            </a:r>
          </a:p>
          <a:p>
            <a:pPr lvl="1"/>
            <a:r>
              <a:rPr lang="en-US" sz="2800" dirty="0">
                <a:latin typeface="+mn-lt"/>
              </a:rPr>
              <a:t>people</a:t>
            </a:r>
          </a:p>
          <a:p>
            <a:pPr lvl="1"/>
            <a:r>
              <a:rPr lang="en-US" sz="2800" dirty="0"/>
              <a:t>systems </a:t>
            </a:r>
          </a:p>
          <a:p>
            <a:pPr lvl="1"/>
            <a:r>
              <a:rPr lang="en-US" sz="2800" dirty="0"/>
              <a:t>devices</a:t>
            </a:r>
            <a:endParaRPr lang="en-US" sz="2800" dirty="0">
              <a:latin typeface="+mn-lt"/>
            </a:endParaRPr>
          </a:p>
          <a:p>
            <a:pPr marL="0" indent="0">
              <a:buNone/>
            </a:pPr>
            <a:r>
              <a:rPr lang="en-US" sz="2800" dirty="0">
                <a:latin typeface="+mn-lt"/>
              </a:rPr>
              <a:t>through software.</a:t>
            </a:r>
          </a:p>
          <a:p>
            <a:pPr marL="0" indent="0">
              <a:buNone/>
            </a:pPr>
            <a:endParaRPr lang="en-US" sz="2800" dirty="0">
              <a:latin typeface="+mn-lt"/>
              <a:cs typeface="Arial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567806B-2C15-4732-8BE4-466CDA07A21C}" type="slidenum">
              <a:rPr lang="en-IN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2</a:t>
            </a:fld>
            <a:endParaRPr lang="en-IN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Arial"/>
                <a:cs typeface="Arial"/>
              </a:rPr>
              <a:t>What is .NET?</a:t>
            </a: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79353" y="2527300"/>
            <a:ext cx="4939015" cy="17907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7080293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IN" sz="2800" dirty="0">
                <a:latin typeface="+mn-lt"/>
              </a:rPr>
              <a:t>A </a:t>
            </a:r>
            <a:r>
              <a:rPr lang="en-IN" sz="2800" dirty="0">
                <a:latin typeface="+mn-lt"/>
                <a:hlinkClick r:id="rId2"/>
              </a:rPr>
              <a:t>programming</a:t>
            </a:r>
            <a:r>
              <a:rPr lang="en-IN" sz="2800" dirty="0">
                <a:latin typeface="+mn-lt"/>
              </a:rPr>
              <a:t> infrastructure created by </a:t>
            </a:r>
            <a:r>
              <a:rPr lang="en-IN" sz="2800" dirty="0">
                <a:latin typeface="+mn-lt"/>
                <a:hlinkClick r:id="rId3"/>
              </a:rPr>
              <a:t>Microsoft</a:t>
            </a:r>
            <a:r>
              <a:rPr lang="en-IN" sz="2800" dirty="0">
                <a:latin typeface="+mn-lt"/>
              </a:rPr>
              <a:t> for building, deploying, and running </a:t>
            </a:r>
            <a:r>
              <a:rPr lang="en-IN" sz="2800" dirty="0">
                <a:latin typeface="+mn-lt"/>
                <a:hlinkClick r:id="rId4"/>
              </a:rPr>
              <a:t>applications</a:t>
            </a:r>
            <a:endParaRPr lang="en-IN" sz="2800" dirty="0">
              <a:latin typeface="+mn-lt"/>
            </a:endParaRPr>
          </a:p>
          <a:p>
            <a:pPr marL="0" indent="0">
              <a:buNone/>
            </a:pPr>
            <a:endParaRPr lang="en-IN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567806B-2C15-4732-8BE4-466CDA07A21C}" type="slidenum">
              <a:rPr lang="en-IN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3</a:t>
            </a:fld>
            <a:endParaRPr lang="en-IN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/>
              <a:t>What is a Framework?</a:t>
            </a:r>
          </a:p>
        </p:txBody>
      </p:sp>
    </p:spTree>
    <p:extLst>
      <p:ext uri="{BB962C8B-B14F-4D97-AF65-F5344CB8AC3E}">
        <p14:creationId xmlns:p14="http://schemas.microsoft.com/office/powerpoint/2010/main" val="363200978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441325" indent="-441325">
              <a:defRPr/>
            </a:pPr>
            <a:r>
              <a:rPr lang="en-US" sz="2800" dirty="0">
                <a:latin typeface="+mn-lt"/>
              </a:rPr>
              <a:t>NET provides a standardized set of services</a:t>
            </a:r>
          </a:p>
          <a:p>
            <a:pPr marL="841375" lvl="1" indent="-441325">
              <a:defRPr/>
            </a:pPr>
            <a:r>
              <a:rPr lang="en-US" sz="2800" dirty="0">
                <a:latin typeface="+mn-lt"/>
              </a:rPr>
              <a:t>Data access and connectivity (ADO.NET)</a:t>
            </a:r>
          </a:p>
          <a:p>
            <a:pPr marL="841375" lvl="1" indent="-441325">
              <a:defRPr/>
            </a:pPr>
            <a:r>
              <a:rPr lang="en-US" sz="2800" dirty="0">
                <a:latin typeface="+mn-lt"/>
              </a:rPr>
              <a:t>User Interfaces (</a:t>
            </a:r>
            <a:r>
              <a:rPr lang="en-US" sz="2800" dirty="0" err="1">
                <a:latin typeface="+mn-lt"/>
              </a:rPr>
              <a:t>WinForms</a:t>
            </a:r>
            <a:r>
              <a:rPr lang="en-US" sz="2800" dirty="0">
                <a:latin typeface="+mn-lt"/>
              </a:rPr>
              <a:t>, WPF)</a:t>
            </a:r>
          </a:p>
          <a:p>
            <a:pPr marL="841375" lvl="1" indent="-441325">
              <a:defRPr/>
            </a:pPr>
            <a:r>
              <a:rPr lang="en-US" sz="2800" dirty="0">
                <a:latin typeface="+mn-lt"/>
              </a:rPr>
              <a:t>Web Applications (ASP.NET, Silverlight)</a:t>
            </a:r>
          </a:p>
          <a:p>
            <a:pPr marL="841375" lvl="1" indent="-441325">
              <a:defRPr/>
            </a:pPr>
            <a:r>
              <a:rPr lang="en-US" sz="2800" dirty="0">
                <a:latin typeface="+mn-lt"/>
              </a:rPr>
              <a:t>Network Communication (WCF), Workflow (WF)</a:t>
            </a:r>
          </a:p>
          <a:p>
            <a:endParaRPr lang="en-IN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567806B-2C15-4732-8BE4-466CDA07A21C}" type="slidenum">
              <a:rPr lang="en-IN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4</a:t>
            </a:fld>
            <a:endParaRPr lang="en-IN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/>
              <a:t>What does the framework provide?</a:t>
            </a:r>
          </a:p>
        </p:txBody>
      </p:sp>
    </p:spTree>
    <p:extLst>
      <p:ext uri="{BB962C8B-B14F-4D97-AF65-F5344CB8AC3E}">
        <p14:creationId xmlns:p14="http://schemas.microsoft.com/office/powerpoint/2010/main" val="242408224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567806B-2C15-4732-8BE4-466CDA07A21C}" type="slidenum">
              <a:rPr lang="en-IN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5</a:t>
            </a:fld>
            <a:endParaRPr lang="en-IN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/>
              <a:t>.NET Framework</a:t>
            </a:r>
          </a:p>
        </p:txBody>
      </p:sp>
      <p:sp>
        <p:nvSpPr>
          <p:cNvPr id="5" name="Rectangle 3"/>
          <p:cNvSpPr>
            <a:spLocks noChangeArrowheads="1"/>
          </p:cNvSpPr>
          <p:nvPr/>
        </p:nvSpPr>
        <p:spPr bwMode="auto">
          <a:xfrm>
            <a:off x="990600" y="5822747"/>
            <a:ext cx="5842000" cy="568325"/>
          </a:xfrm>
          <a:prstGeom prst="rect">
            <a:avLst/>
          </a:prstGeom>
          <a:solidFill>
            <a:srgbClr val="808080"/>
          </a:solidFill>
          <a:ln w="12700">
            <a:miter lim="800000"/>
            <a:headEnd type="none" w="sm" len="sm"/>
            <a:tailEnd type="none" w="sm" len="sm"/>
          </a:ln>
          <a:effectLst/>
          <a:scene3d>
            <a:camera prst="legacyObliqueTopRight"/>
            <a:lightRig rig="legacyFlat3" dir="b"/>
          </a:scene3d>
          <a:sp3d extrusionH="582600" prstMaterial="legacyMatte">
            <a:bevelT w="13500" h="13500" prst="angle"/>
            <a:bevelB w="13500" h="13500" prst="angle"/>
            <a:extrusionClr>
              <a:srgbClr val="808080"/>
            </a:extrusionClr>
            <a:contourClr>
              <a:srgbClr val="808080"/>
            </a:contourClr>
          </a:sp3d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>
            <a:flatTx/>
          </a:bodyPr>
          <a:lstStyle/>
          <a:p>
            <a:pPr algn="ctr">
              <a:defRPr/>
            </a:pPr>
            <a:r>
              <a:rPr lang="en-US" sz="2000" b="1" dirty="0">
                <a:solidFill>
                  <a:srgbClr val="ECEC62"/>
                </a:solidFill>
                <a:effectLst>
                  <a:outerShdw blurRad="38100" dist="38100" dir="2700000" algn="tl">
                    <a:srgbClr val="000000"/>
                  </a:outerShdw>
                </a:effectLst>
              </a:rPr>
              <a:t>Operating System</a:t>
            </a:r>
          </a:p>
        </p:txBody>
      </p:sp>
      <p:sp>
        <p:nvSpPr>
          <p:cNvPr id="6" name="Rectangle 4"/>
          <p:cNvSpPr>
            <a:spLocks noChangeArrowheads="1"/>
          </p:cNvSpPr>
          <p:nvPr/>
        </p:nvSpPr>
        <p:spPr bwMode="auto">
          <a:xfrm>
            <a:off x="990600" y="5383213"/>
            <a:ext cx="5842000" cy="568325"/>
          </a:xfrm>
          <a:prstGeom prst="rect">
            <a:avLst/>
          </a:prstGeom>
          <a:solidFill>
            <a:schemeClr val="hlink"/>
          </a:solidFill>
          <a:ln w="12700">
            <a:miter lim="800000"/>
            <a:headEnd type="none" w="sm" len="sm"/>
            <a:tailEnd type="none" w="sm" len="sm"/>
          </a:ln>
          <a:effectLst/>
          <a:scene3d>
            <a:camera prst="legacyObliqueTopRight"/>
            <a:lightRig rig="legacyFlat3" dir="b"/>
          </a:scene3d>
          <a:sp3d extrusionH="582600" prstMaterial="legacyMatte">
            <a:bevelT w="13500" h="13500" prst="angle"/>
            <a:bevelB w="13500" h="13500" prst="angle"/>
            <a:extrusionClr>
              <a:schemeClr val="hlink"/>
            </a:extrusionClr>
            <a:contourClr>
              <a:schemeClr val="hlink"/>
            </a:contourClr>
          </a:sp3d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>
            <a:flatTx/>
          </a:bodyPr>
          <a:lstStyle/>
          <a:p>
            <a:pPr algn="ctr">
              <a:defRPr/>
            </a:pPr>
            <a:r>
              <a:rPr lang="en-US" sz="2000" b="1" dirty="0">
                <a:solidFill>
                  <a:srgbClr val="ECEC62"/>
                </a:solidFill>
                <a:effectLst>
                  <a:outerShdw blurRad="38100" dist="38100" dir="2700000" algn="tl">
                    <a:srgbClr val="000000"/>
                  </a:outerShdw>
                </a:effectLst>
              </a:rPr>
              <a:t>Common Language Runtime</a:t>
            </a:r>
          </a:p>
        </p:txBody>
      </p:sp>
      <p:grpSp>
        <p:nvGrpSpPr>
          <p:cNvPr id="7" name="Group 5"/>
          <p:cNvGrpSpPr>
            <a:grpSpLocks/>
          </p:cNvGrpSpPr>
          <p:nvPr/>
        </p:nvGrpSpPr>
        <p:grpSpPr bwMode="auto">
          <a:xfrm>
            <a:off x="1004888" y="3211513"/>
            <a:ext cx="5856287" cy="2141537"/>
            <a:chOff x="585" y="1771"/>
            <a:chExt cx="3824" cy="1410"/>
          </a:xfrm>
        </p:grpSpPr>
        <p:sp>
          <p:nvSpPr>
            <p:cNvPr id="8" name="Rectangle 6"/>
            <p:cNvSpPr>
              <a:spLocks noChangeArrowheads="1"/>
            </p:cNvSpPr>
            <p:nvPr/>
          </p:nvSpPr>
          <p:spPr bwMode="auto">
            <a:xfrm>
              <a:off x="585" y="2845"/>
              <a:ext cx="3814" cy="336"/>
            </a:xfrm>
            <a:prstGeom prst="rect">
              <a:avLst/>
            </a:prstGeom>
            <a:solidFill>
              <a:schemeClr val="accent2"/>
            </a:solidFill>
            <a:ln w="12700">
              <a:miter lim="800000"/>
              <a:headEnd type="none" w="sm" len="sm"/>
              <a:tailEnd type="none" w="sm" len="sm"/>
            </a:ln>
            <a:effectLst/>
            <a:scene3d>
              <a:camera prst="legacyObliqueTopRight"/>
              <a:lightRig rig="legacyFlat3" dir="b"/>
            </a:scene3d>
            <a:sp3d extrusionH="582600" prstMaterial="legacyMatte">
              <a:bevelT w="13500" h="13500" prst="angle"/>
              <a:bevelB w="13500" h="13500" prst="angle"/>
              <a:extrusionClr>
                <a:schemeClr val="accent2"/>
              </a:extrusionClr>
              <a:contourClr>
                <a:schemeClr val="accent2"/>
              </a:contourClr>
            </a:sp3d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>
              <a:flatTx/>
            </a:bodyPr>
            <a:lstStyle/>
            <a:p>
              <a:pPr algn="ctr">
                <a:defRPr/>
              </a:pPr>
              <a:r>
                <a:rPr lang="en-US" sz="2000" b="1" dirty="0">
                  <a:solidFill>
                    <a:srgbClr val="ECEC62"/>
                  </a:solidFill>
                  <a:effectLst>
                    <a:outerShdw blurRad="38100" dist="38100" dir="2700000" algn="tl">
                      <a:srgbClr val="000000"/>
                    </a:outerShdw>
                  </a:effectLst>
                </a:rPr>
                <a:t>.NET Framework (Base Class Library)</a:t>
              </a:r>
            </a:p>
          </p:txBody>
        </p:sp>
        <p:sp>
          <p:nvSpPr>
            <p:cNvPr id="9" name="Rectangle 7"/>
            <p:cNvSpPr>
              <a:spLocks noChangeArrowheads="1"/>
            </p:cNvSpPr>
            <p:nvPr/>
          </p:nvSpPr>
          <p:spPr bwMode="auto">
            <a:xfrm>
              <a:off x="588" y="2468"/>
              <a:ext cx="3814" cy="331"/>
            </a:xfrm>
            <a:prstGeom prst="rect">
              <a:avLst/>
            </a:prstGeom>
            <a:solidFill>
              <a:schemeClr val="accent2"/>
            </a:solidFill>
            <a:ln w="12700">
              <a:miter lim="800000"/>
              <a:headEnd type="none" w="sm" len="sm"/>
              <a:tailEnd type="none" w="sm" len="sm"/>
            </a:ln>
            <a:effectLst/>
            <a:scene3d>
              <a:camera prst="legacyObliqueTopRight"/>
              <a:lightRig rig="legacyFlat3" dir="b"/>
            </a:scene3d>
            <a:sp3d extrusionH="582600" prstMaterial="legacyMatte">
              <a:bevelT w="13500" h="13500" prst="angle"/>
              <a:bevelB w="13500" h="13500" prst="angle"/>
              <a:extrusionClr>
                <a:schemeClr val="accent2"/>
              </a:extrusionClr>
              <a:contourClr>
                <a:schemeClr val="accent2"/>
              </a:contourClr>
            </a:sp3d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>
              <a:flatTx/>
            </a:bodyPr>
            <a:lstStyle/>
            <a:p>
              <a:pPr algn="ctr">
                <a:defRPr/>
              </a:pPr>
              <a:r>
                <a:rPr lang="en-US" sz="2000" b="1" dirty="0">
                  <a:solidFill>
                    <a:srgbClr val="ECEC62"/>
                  </a:solidFill>
                  <a:effectLst>
                    <a:outerShdw blurRad="38100" dist="38100" dir="2700000" algn="tl">
                      <a:srgbClr val="000000"/>
                    </a:outerShdw>
                  </a:effectLst>
                </a:rPr>
                <a:t>ADO .NET and XML</a:t>
              </a:r>
            </a:p>
          </p:txBody>
        </p:sp>
        <p:grpSp>
          <p:nvGrpSpPr>
            <p:cNvPr id="10" name="Group 8"/>
            <p:cNvGrpSpPr>
              <a:grpSpLocks/>
            </p:cNvGrpSpPr>
            <p:nvPr/>
          </p:nvGrpSpPr>
          <p:grpSpPr bwMode="auto">
            <a:xfrm>
              <a:off x="585" y="1771"/>
              <a:ext cx="3824" cy="599"/>
              <a:chOff x="296" y="1753"/>
              <a:chExt cx="3513" cy="692"/>
            </a:xfrm>
          </p:grpSpPr>
          <p:sp>
            <p:nvSpPr>
              <p:cNvPr id="11" name="Rectangle 9"/>
              <p:cNvSpPr>
                <a:spLocks noChangeArrowheads="1"/>
              </p:cNvSpPr>
              <p:nvPr/>
            </p:nvSpPr>
            <p:spPr bwMode="auto">
              <a:xfrm>
                <a:off x="296" y="1774"/>
                <a:ext cx="2208" cy="671"/>
              </a:xfrm>
              <a:prstGeom prst="rect">
                <a:avLst/>
              </a:prstGeom>
              <a:solidFill>
                <a:schemeClr val="accent2"/>
              </a:solidFill>
              <a:ln w="12700">
                <a:miter lim="800000"/>
                <a:headEnd type="none" w="sm" len="sm"/>
                <a:tailEnd type="none" w="sm" len="sm"/>
              </a:ln>
              <a:effectLst/>
              <a:scene3d>
                <a:camera prst="legacyObliqueTopRight"/>
                <a:lightRig rig="legacyFlat3" dir="b"/>
              </a:scene3d>
              <a:sp3d extrusionH="582600" prstMaterial="legacyMatte">
                <a:bevelT w="13500" h="13500" prst="angle"/>
                <a:bevelB w="13500" h="13500" prst="angle"/>
                <a:extrusionClr>
                  <a:schemeClr val="accent2"/>
                </a:extrusionClr>
                <a:contourClr>
                  <a:schemeClr val="accent2"/>
                </a:contourClr>
              </a:sp3d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>
                <a:flatTx/>
              </a:bodyPr>
              <a:lstStyle/>
              <a:p>
                <a:pPr algn="ctr">
                  <a:defRPr/>
                </a:pPr>
                <a:r>
                  <a:rPr lang="en-US" sz="2000" b="1" dirty="0">
                    <a:solidFill>
                      <a:srgbClr val="ECEC62"/>
                    </a:solidFill>
                    <a:effectLst>
                      <a:outerShdw blurRad="38100" dist="38100" dir="2700000" algn="tl">
                        <a:srgbClr val="000000"/>
                      </a:outerShdw>
                    </a:effectLst>
                  </a:rPr>
                  <a:t>ASP .NET</a:t>
                </a:r>
              </a:p>
              <a:p>
                <a:pPr algn="ctr">
                  <a:defRPr/>
                </a:pPr>
                <a:r>
                  <a:rPr lang="en-US" sz="1800" b="1" i="1" dirty="0">
                    <a:solidFill>
                      <a:srgbClr val="ECEC62"/>
                    </a:solidFill>
                    <a:effectLst>
                      <a:outerShdw blurRad="38100" dist="38100" dir="2700000" algn="tl">
                        <a:srgbClr val="000000"/>
                      </a:outerShdw>
                    </a:effectLst>
                  </a:rPr>
                  <a:t>Web Forms   Web Services</a:t>
                </a:r>
              </a:p>
              <a:p>
                <a:pPr algn="ctr">
                  <a:defRPr/>
                </a:pPr>
                <a:r>
                  <a:rPr lang="en-US" sz="1800" b="1" i="1" dirty="0">
                    <a:solidFill>
                      <a:srgbClr val="ECEC62"/>
                    </a:solidFill>
                    <a:effectLst>
                      <a:outerShdw blurRad="38100" dist="38100" dir="2700000" algn="tl">
                        <a:srgbClr val="000000"/>
                      </a:outerShdw>
                    </a:effectLst>
                  </a:rPr>
                  <a:t>Mobile Internet Toolkit</a:t>
                </a:r>
              </a:p>
            </p:txBody>
          </p:sp>
          <p:sp>
            <p:nvSpPr>
              <p:cNvPr id="12" name="Rectangle 10"/>
              <p:cNvSpPr>
                <a:spLocks noChangeArrowheads="1"/>
              </p:cNvSpPr>
              <p:nvPr/>
            </p:nvSpPr>
            <p:spPr bwMode="auto">
              <a:xfrm>
                <a:off x="2561" y="1753"/>
                <a:ext cx="1248" cy="671"/>
              </a:xfrm>
              <a:prstGeom prst="rect">
                <a:avLst/>
              </a:prstGeom>
              <a:solidFill>
                <a:schemeClr val="accent2"/>
              </a:solidFill>
              <a:ln w="12700">
                <a:miter lim="800000"/>
                <a:headEnd type="none" w="sm" len="sm"/>
                <a:tailEnd type="none" w="sm" len="sm"/>
              </a:ln>
              <a:effectLst/>
              <a:scene3d>
                <a:camera prst="legacyObliqueTopRight"/>
                <a:lightRig rig="legacyFlat3" dir="b"/>
              </a:scene3d>
              <a:sp3d extrusionH="582600" prstMaterial="legacyMatte">
                <a:bevelT w="13500" h="13500" prst="angle"/>
                <a:bevelB w="13500" h="13500" prst="angle"/>
                <a:extrusionClr>
                  <a:schemeClr val="accent2"/>
                </a:extrusionClr>
                <a:contourClr>
                  <a:schemeClr val="accent2"/>
                </a:contourClr>
              </a:sp3d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>
                <a:flatTx/>
              </a:bodyPr>
              <a:lstStyle/>
              <a:p>
                <a:pPr algn="ctr">
                  <a:defRPr/>
                </a:pPr>
                <a:r>
                  <a:rPr lang="en-US" sz="2000" b="1" dirty="0">
                    <a:solidFill>
                      <a:srgbClr val="ECEC62"/>
                    </a:solidFill>
                    <a:effectLst>
                      <a:outerShdw blurRad="38100" dist="38100" dir="2700000" algn="tl">
                        <a:srgbClr val="000000"/>
                      </a:outerShdw>
                    </a:effectLst>
                  </a:rPr>
                  <a:t>Windows</a:t>
                </a:r>
              </a:p>
              <a:p>
                <a:pPr algn="ctr">
                  <a:defRPr/>
                </a:pPr>
                <a:r>
                  <a:rPr lang="en-US" sz="2000" b="1" dirty="0">
                    <a:solidFill>
                      <a:srgbClr val="ECEC62"/>
                    </a:solidFill>
                    <a:effectLst>
                      <a:outerShdw blurRad="38100" dist="38100" dir="2700000" algn="tl">
                        <a:srgbClr val="000000"/>
                      </a:outerShdw>
                    </a:effectLst>
                  </a:rPr>
                  <a:t>Forms</a:t>
                </a:r>
              </a:p>
            </p:txBody>
          </p:sp>
        </p:grpSp>
      </p:grpSp>
      <p:sp>
        <p:nvSpPr>
          <p:cNvPr id="13" name="Rectangle 11"/>
          <p:cNvSpPr>
            <a:spLocks noChangeArrowheads="1"/>
          </p:cNvSpPr>
          <p:nvPr/>
        </p:nvSpPr>
        <p:spPr bwMode="auto">
          <a:xfrm>
            <a:off x="990600" y="2595563"/>
            <a:ext cx="5842000" cy="504825"/>
          </a:xfrm>
          <a:prstGeom prst="rect">
            <a:avLst/>
          </a:prstGeom>
          <a:solidFill>
            <a:srgbClr val="5A99D2"/>
          </a:solidFill>
          <a:ln w="12700">
            <a:miter lim="800000"/>
            <a:headEnd type="none" w="sm" len="sm"/>
            <a:tailEnd type="none" w="sm" len="sm"/>
          </a:ln>
          <a:effectLst/>
          <a:scene3d>
            <a:camera prst="legacyObliqueTopRight"/>
            <a:lightRig rig="legacyFlat3" dir="b"/>
          </a:scene3d>
          <a:sp3d extrusionH="582600" prstMaterial="legacyMatte">
            <a:bevelT w="13500" h="13500" prst="angle"/>
            <a:bevelB w="13500" h="13500" prst="angle"/>
            <a:extrusionClr>
              <a:srgbClr val="5A99D2"/>
            </a:extrusionClr>
            <a:contourClr>
              <a:srgbClr val="5A99D2"/>
            </a:contourClr>
          </a:sp3d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>
            <a:flatTx/>
          </a:bodyPr>
          <a:lstStyle/>
          <a:p>
            <a:pPr algn="ctr">
              <a:defRPr/>
            </a:pPr>
            <a:r>
              <a:rPr lang="en-US" sz="2000" b="1" dirty="0">
                <a:solidFill>
                  <a:srgbClr val="ECEC62"/>
                </a:solidFill>
                <a:effectLst>
                  <a:outerShdw blurRad="38100" dist="38100" dir="2700000" algn="tl">
                    <a:srgbClr val="000000"/>
                  </a:outerShdw>
                </a:effectLst>
              </a:rPr>
              <a:t>Common Language Specification</a:t>
            </a:r>
          </a:p>
        </p:txBody>
      </p:sp>
      <p:sp>
        <p:nvSpPr>
          <p:cNvPr id="14" name="Rectangle 12"/>
          <p:cNvSpPr>
            <a:spLocks noChangeArrowheads="1"/>
          </p:cNvSpPr>
          <p:nvPr/>
        </p:nvSpPr>
        <p:spPr bwMode="auto">
          <a:xfrm>
            <a:off x="990600" y="1981200"/>
            <a:ext cx="735013" cy="504825"/>
          </a:xfrm>
          <a:prstGeom prst="rect">
            <a:avLst/>
          </a:prstGeom>
          <a:solidFill>
            <a:srgbClr val="5A99D2"/>
          </a:solidFill>
          <a:ln w="12700">
            <a:miter lim="800000"/>
            <a:headEnd type="none" w="sm" len="sm"/>
            <a:tailEnd type="none" w="sm" len="sm"/>
          </a:ln>
          <a:effectLst/>
          <a:scene3d>
            <a:camera prst="legacyObliqueTopRight"/>
            <a:lightRig rig="legacyFlat3" dir="b"/>
          </a:scene3d>
          <a:sp3d extrusionH="582600" prstMaterial="legacyMatte">
            <a:bevelT w="13500" h="13500" prst="angle"/>
            <a:bevelB w="13500" h="13500" prst="angle"/>
            <a:extrusionClr>
              <a:srgbClr val="5A99D2"/>
            </a:extrusionClr>
            <a:contourClr>
              <a:srgbClr val="5A99D2"/>
            </a:contourClr>
          </a:sp3d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>
            <a:flatTx/>
          </a:bodyPr>
          <a:lstStyle/>
          <a:p>
            <a:pPr algn="ctr">
              <a:defRPr/>
            </a:pPr>
            <a:r>
              <a:rPr lang="en-US" sz="2000" b="1" dirty="0">
                <a:solidFill>
                  <a:srgbClr val="ECEC62"/>
                </a:solidFill>
                <a:effectLst>
                  <a:outerShdw blurRad="38100" dist="38100" dir="2700000" algn="tl">
                    <a:srgbClr val="000000"/>
                  </a:outerShdw>
                </a:effectLst>
              </a:rPr>
              <a:t>C++</a:t>
            </a:r>
          </a:p>
        </p:txBody>
      </p:sp>
      <p:sp>
        <p:nvSpPr>
          <p:cNvPr id="15" name="Rectangle 13"/>
          <p:cNvSpPr>
            <a:spLocks noChangeArrowheads="1"/>
          </p:cNvSpPr>
          <p:nvPr/>
        </p:nvSpPr>
        <p:spPr bwMode="auto">
          <a:xfrm>
            <a:off x="1804988" y="1981200"/>
            <a:ext cx="784225" cy="504825"/>
          </a:xfrm>
          <a:prstGeom prst="rect">
            <a:avLst/>
          </a:prstGeom>
          <a:solidFill>
            <a:srgbClr val="5A99D2"/>
          </a:solidFill>
          <a:ln w="12700">
            <a:miter lim="800000"/>
            <a:headEnd type="none" w="sm" len="sm"/>
            <a:tailEnd type="none" w="sm" len="sm"/>
          </a:ln>
          <a:effectLst/>
          <a:scene3d>
            <a:camera prst="legacyObliqueTopRight"/>
            <a:lightRig rig="legacyFlat3" dir="b"/>
          </a:scene3d>
          <a:sp3d extrusionH="582600" prstMaterial="legacyMatte">
            <a:bevelT w="13500" h="13500" prst="angle"/>
            <a:bevelB w="13500" h="13500" prst="angle"/>
            <a:extrusionClr>
              <a:srgbClr val="5A99D2"/>
            </a:extrusionClr>
            <a:contourClr>
              <a:srgbClr val="5A99D2"/>
            </a:contourClr>
          </a:sp3d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>
            <a:flatTx/>
          </a:bodyPr>
          <a:lstStyle/>
          <a:p>
            <a:pPr algn="ctr">
              <a:defRPr/>
            </a:pPr>
            <a:r>
              <a:rPr lang="en-US" sz="2000" b="1" dirty="0">
                <a:solidFill>
                  <a:srgbClr val="ECEC62"/>
                </a:solidFill>
                <a:effectLst>
                  <a:outerShdw blurRad="38100" dist="38100" dir="2700000" algn="tl">
                    <a:srgbClr val="000000"/>
                  </a:outerShdw>
                </a:effectLst>
              </a:rPr>
              <a:t>C#</a:t>
            </a:r>
          </a:p>
        </p:txBody>
      </p:sp>
      <p:sp>
        <p:nvSpPr>
          <p:cNvPr id="16" name="Rectangle 14"/>
          <p:cNvSpPr>
            <a:spLocks noChangeArrowheads="1"/>
          </p:cNvSpPr>
          <p:nvPr/>
        </p:nvSpPr>
        <p:spPr bwMode="auto">
          <a:xfrm>
            <a:off x="2751138" y="2039938"/>
            <a:ext cx="762000" cy="504825"/>
          </a:xfrm>
          <a:prstGeom prst="rect">
            <a:avLst/>
          </a:prstGeom>
          <a:solidFill>
            <a:srgbClr val="5A99D2"/>
          </a:solidFill>
          <a:ln w="12700">
            <a:miter lim="800000"/>
            <a:headEnd type="none" w="sm" len="sm"/>
            <a:tailEnd type="none" w="sm" len="sm"/>
          </a:ln>
          <a:effectLst/>
          <a:scene3d>
            <a:camera prst="legacyObliqueTopRight"/>
            <a:lightRig rig="legacyFlat3" dir="b"/>
          </a:scene3d>
          <a:sp3d extrusionH="582600" prstMaterial="legacyMatte">
            <a:bevelT w="13500" h="13500" prst="angle"/>
            <a:bevelB w="13500" h="13500" prst="angle"/>
            <a:extrusionClr>
              <a:srgbClr val="5A99D2"/>
            </a:extrusionClr>
            <a:contourClr>
              <a:srgbClr val="5A99D2"/>
            </a:contourClr>
          </a:sp3d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>
            <a:flatTx/>
          </a:bodyPr>
          <a:lstStyle/>
          <a:p>
            <a:pPr algn="ctr">
              <a:defRPr/>
            </a:pPr>
            <a:r>
              <a:rPr lang="en-US" sz="1800" b="1" dirty="0">
                <a:solidFill>
                  <a:srgbClr val="ECEC62"/>
                </a:solidFill>
                <a:effectLst>
                  <a:outerShdw blurRad="38100" dist="38100" dir="2700000" algn="tl">
                    <a:srgbClr val="000000"/>
                  </a:outerShdw>
                </a:effectLst>
              </a:rPr>
              <a:t>VB</a:t>
            </a:r>
          </a:p>
        </p:txBody>
      </p:sp>
      <p:sp>
        <p:nvSpPr>
          <p:cNvPr id="17" name="Rectangle 15"/>
          <p:cNvSpPr>
            <a:spLocks noChangeArrowheads="1"/>
          </p:cNvSpPr>
          <p:nvPr/>
        </p:nvSpPr>
        <p:spPr bwMode="auto">
          <a:xfrm>
            <a:off x="3511550" y="1981200"/>
            <a:ext cx="747713" cy="504825"/>
          </a:xfrm>
          <a:prstGeom prst="rect">
            <a:avLst/>
          </a:prstGeom>
          <a:solidFill>
            <a:srgbClr val="5A99D2"/>
          </a:solidFill>
          <a:ln w="12700">
            <a:miter lim="800000"/>
            <a:headEnd type="none" w="sm" len="sm"/>
            <a:tailEnd type="none" w="sm" len="sm"/>
          </a:ln>
          <a:effectLst/>
          <a:scene3d>
            <a:camera prst="legacyObliqueTopRight"/>
            <a:lightRig rig="legacyFlat3" dir="b"/>
          </a:scene3d>
          <a:sp3d extrusionH="582600" prstMaterial="legacyMatte">
            <a:bevelT w="13500" h="13500" prst="angle"/>
            <a:bevelB w="13500" h="13500" prst="angle"/>
            <a:extrusionClr>
              <a:srgbClr val="5A99D2"/>
            </a:extrusionClr>
            <a:contourClr>
              <a:srgbClr val="5A99D2"/>
            </a:contourClr>
          </a:sp3d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>
            <a:flatTx/>
          </a:bodyPr>
          <a:lstStyle/>
          <a:p>
            <a:pPr algn="ctr">
              <a:defRPr/>
            </a:pPr>
            <a:r>
              <a:rPr lang="en-US" sz="2000" b="1" dirty="0">
                <a:solidFill>
                  <a:srgbClr val="ECEC62"/>
                </a:solidFill>
                <a:effectLst>
                  <a:outerShdw blurRad="38100" dist="38100" dir="2700000" algn="tl">
                    <a:srgbClr val="000000"/>
                  </a:outerShdw>
                </a:effectLst>
              </a:rPr>
              <a:t>Perl</a:t>
            </a:r>
          </a:p>
        </p:txBody>
      </p:sp>
      <p:sp>
        <p:nvSpPr>
          <p:cNvPr id="18" name="Rectangle 16"/>
          <p:cNvSpPr>
            <a:spLocks noChangeArrowheads="1"/>
          </p:cNvSpPr>
          <p:nvPr/>
        </p:nvSpPr>
        <p:spPr bwMode="auto">
          <a:xfrm>
            <a:off x="4371975" y="1981200"/>
            <a:ext cx="766763" cy="504825"/>
          </a:xfrm>
          <a:prstGeom prst="rect">
            <a:avLst/>
          </a:prstGeom>
          <a:solidFill>
            <a:srgbClr val="5A99D2"/>
          </a:solidFill>
          <a:ln w="12700">
            <a:miter lim="800000"/>
            <a:headEnd type="none" w="sm" len="sm"/>
            <a:tailEnd type="none" w="sm" len="sm"/>
          </a:ln>
          <a:effectLst/>
          <a:scene3d>
            <a:camera prst="legacyObliqueTopRight"/>
            <a:lightRig rig="legacyFlat3" dir="b"/>
          </a:scene3d>
          <a:sp3d extrusionH="582600" prstMaterial="legacyMatte">
            <a:bevelT w="13500" h="13500" prst="angle"/>
            <a:bevelB w="13500" h="13500" prst="angle"/>
            <a:extrusionClr>
              <a:srgbClr val="5A99D2"/>
            </a:extrusionClr>
            <a:contourClr>
              <a:srgbClr val="5A99D2"/>
            </a:contourClr>
          </a:sp3d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>
            <a:flatTx/>
          </a:bodyPr>
          <a:lstStyle/>
          <a:p>
            <a:pPr algn="ctr">
              <a:defRPr/>
            </a:pPr>
            <a:r>
              <a:rPr lang="en-US" sz="2000" b="1" dirty="0">
                <a:solidFill>
                  <a:srgbClr val="ECEC62"/>
                </a:solidFill>
                <a:effectLst>
                  <a:outerShdw blurRad="38100" dist="38100" dir="2700000" algn="tl">
                    <a:srgbClr val="000000"/>
                  </a:outerShdw>
                </a:effectLst>
              </a:rPr>
              <a:t>J#</a:t>
            </a:r>
          </a:p>
        </p:txBody>
      </p:sp>
      <p:sp>
        <p:nvSpPr>
          <p:cNvPr id="19" name="Rectangle 17"/>
          <p:cNvSpPr>
            <a:spLocks noChangeArrowheads="1"/>
          </p:cNvSpPr>
          <p:nvPr/>
        </p:nvSpPr>
        <p:spPr bwMode="auto">
          <a:xfrm>
            <a:off x="5181600" y="1981200"/>
            <a:ext cx="1651000" cy="504825"/>
          </a:xfrm>
          <a:prstGeom prst="rect">
            <a:avLst/>
          </a:prstGeom>
          <a:solidFill>
            <a:srgbClr val="5A99D2"/>
          </a:solidFill>
          <a:ln w="12700">
            <a:miter lim="800000"/>
            <a:headEnd type="none" w="sm" len="sm"/>
            <a:tailEnd type="none" w="sm" len="sm"/>
          </a:ln>
          <a:effectLst/>
          <a:scene3d>
            <a:camera prst="legacyObliqueTopRight"/>
            <a:lightRig rig="legacyFlat3" dir="b"/>
          </a:scene3d>
          <a:sp3d extrusionH="582600" prstMaterial="legacyMatte">
            <a:bevelT w="13500" h="13500" prst="angle"/>
            <a:bevelB w="13500" h="13500" prst="angle"/>
            <a:extrusionClr>
              <a:srgbClr val="5A99D2"/>
            </a:extrusionClr>
            <a:contourClr>
              <a:srgbClr val="5A99D2"/>
            </a:contourClr>
          </a:sp3d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>
            <a:flatTx/>
          </a:bodyPr>
          <a:lstStyle/>
          <a:p>
            <a:pPr algn="ctr">
              <a:defRPr/>
            </a:pPr>
            <a:r>
              <a:rPr lang="en-US" sz="2000" b="1" dirty="0">
                <a:solidFill>
                  <a:srgbClr val="ECEC62"/>
                </a:solidFill>
                <a:effectLst>
                  <a:outerShdw blurRad="38100" dist="38100" dir="2700000" algn="tl">
                    <a:srgbClr val="000000"/>
                  </a:outerShdw>
                </a:effectLst>
              </a:rPr>
              <a:t>…</a:t>
            </a:r>
          </a:p>
        </p:txBody>
      </p:sp>
      <p:sp>
        <p:nvSpPr>
          <p:cNvPr id="20" name="Rectangle 18"/>
          <p:cNvSpPr>
            <a:spLocks noChangeArrowheads="1"/>
          </p:cNvSpPr>
          <p:nvPr/>
        </p:nvSpPr>
        <p:spPr bwMode="auto">
          <a:xfrm>
            <a:off x="6875463" y="1981200"/>
            <a:ext cx="1201737" cy="4419600"/>
          </a:xfrm>
          <a:prstGeom prst="rect">
            <a:avLst/>
          </a:prstGeom>
          <a:solidFill>
            <a:schemeClr val="accent1"/>
          </a:solidFill>
          <a:ln w="12700">
            <a:miter lim="800000"/>
            <a:headEnd type="none" w="sm" len="sm"/>
            <a:tailEnd type="none" w="sm" len="sm"/>
          </a:ln>
          <a:effectLst/>
          <a:scene3d>
            <a:camera prst="legacyObliqueTopRight"/>
            <a:lightRig rig="legacyFlat3" dir="b"/>
          </a:scene3d>
          <a:sp3d extrusionH="582600" prstMaterial="legacyMatte">
            <a:bevelT w="13500" h="13500" prst="angle"/>
            <a:bevelB w="13500" h="13500" prst="angle"/>
            <a:extrusionClr>
              <a:schemeClr val="accent1"/>
            </a:extrusionClr>
            <a:contourClr>
              <a:schemeClr val="accent1"/>
            </a:contourClr>
          </a:sp3d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eaVert" wrap="none" anchor="ctr">
            <a:flatTx/>
          </a:bodyPr>
          <a:lstStyle/>
          <a:p>
            <a:pPr algn="ctr">
              <a:defRPr/>
            </a:pPr>
            <a:r>
              <a:rPr lang="en-US" sz="2000" b="1" dirty="0">
                <a:solidFill>
                  <a:srgbClr val="ECEC62"/>
                </a:solidFill>
                <a:effectLst>
                  <a:outerShdw blurRad="38100" dist="38100" dir="2700000" algn="tl">
                    <a:srgbClr val="000000"/>
                  </a:outerShdw>
                </a:effectLst>
              </a:rPr>
              <a:t>Visual Studio .NET</a:t>
            </a:r>
          </a:p>
        </p:txBody>
      </p:sp>
    </p:spTree>
    <p:extLst>
      <p:ext uri="{BB962C8B-B14F-4D97-AF65-F5344CB8AC3E}">
        <p14:creationId xmlns:p14="http://schemas.microsoft.com/office/powerpoint/2010/main" val="316714829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0" grpId="0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3"/>
          <p:cNvSpPr txBox="1">
            <a:spLocks/>
          </p:cNvSpPr>
          <p:nvPr/>
        </p:nvSpPr>
        <p:spPr>
          <a:xfrm>
            <a:off x="-10160" y="1493912"/>
            <a:ext cx="9180512" cy="5364088"/>
          </a:xfrm>
          <a:prstGeom prst="rect">
            <a:avLst/>
          </a:prstGeom>
          <a:solidFill>
            <a:schemeClr val="tx1"/>
          </a:solidFill>
        </p:spPr>
        <p:txBody>
          <a:bodyPr vert="horz" lIns="91440" tIns="45720" rIns="91440" bIns="45720" rtlCol="0" anchor="ctr">
            <a:normAutofit/>
          </a:bodyPr>
          <a:lstStyle/>
          <a:p>
            <a:pPr defTabSz="914400">
              <a:spcBef>
                <a:spcPct val="0"/>
              </a:spcBef>
              <a:defRPr/>
            </a:pPr>
            <a:endParaRPr lang="en-IN" sz="4000" dirty="0">
              <a:solidFill>
                <a:prstClr val="white"/>
              </a:solidFill>
              <a:latin typeface="Raleway medium" pitchFamily="34" charset="0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-453585" y="3503056"/>
            <a:ext cx="18466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914400"/>
            <a:endParaRPr lang="en-US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62795" y="2679055"/>
            <a:ext cx="8282115" cy="1470025"/>
          </a:xfrm>
          <a:solidFill>
            <a:schemeClr val="tx1"/>
          </a:solidFill>
        </p:spPr>
        <p:txBody>
          <a:bodyPr>
            <a:noAutofit/>
          </a:bodyPr>
          <a:lstStyle/>
          <a:p>
            <a:pPr>
              <a:lnSpc>
                <a:spcPct val="120000"/>
              </a:lnSpc>
            </a:pPr>
            <a:r>
              <a:rPr lang="en-IN" sz="2800" dirty="0">
                <a:solidFill>
                  <a:schemeClr val="bg1"/>
                </a:solidFill>
                <a:latin typeface="Arial"/>
                <a:cs typeface="Arial"/>
              </a:rPr>
              <a:t>What is CLS?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567806B-2C15-4732-8BE4-466CDA07A21C}" type="slidenum">
              <a:rPr lang="en-IN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6</a:t>
            </a:fld>
            <a:endParaRPr lang="en-IN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92080061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457200" y="1282701"/>
            <a:ext cx="7899400" cy="1651000"/>
          </a:xfrm>
        </p:spPr>
        <p:txBody>
          <a:bodyPr>
            <a:normAutofit/>
          </a:bodyPr>
          <a:lstStyle/>
          <a:p>
            <a:pPr>
              <a:lnSpc>
                <a:spcPct val="90000"/>
              </a:lnSpc>
            </a:pPr>
            <a:r>
              <a:rPr lang="en-US" altLang="en-US" sz="2800" dirty="0"/>
              <a:t>Provides basic set of features to be implemented</a:t>
            </a:r>
          </a:p>
          <a:p>
            <a:pPr>
              <a:lnSpc>
                <a:spcPct val="90000"/>
              </a:lnSpc>
            </a:pPr>
            <a:endParaRPr lang="en-US" altLang="en-US" sz="2800" dirty="0"/>
          </a:p>
          <a:p>
            <a:pPr>
              <a:lnSpc>
                <a:spcPct val="90000"/>
              </a:lnSpc>
            </a:pPr>
            <a:r>
              <a:rPr lang="en-US" altLang="en-US" sz="2800" dirty="0"/>
              <a:t>CLS enables language interoperability</a:t>
            </a:r>
          </a:p>
          <a:p>
            <a:endParaRPr lang="en-US" sz="2800" dirty="0">
              <a:latin typeface="+mn-lt"/>
              <a:cs typeface="Arial"/>
            </a:endParaRPr>
          </a:p>
          <a:p>
            <a:endParaRPr lang="en-US" sz="2800" dirty="0">
              <a:latin typeface="+mn-lt"/>
              <a:cs typeface="Arial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567806B-2C15-4732-8BE4-466CDA07A21C}" type="slidenum">
              <a:rPr lang="en-IN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7</a:t>
            </a:fld>
            <a:endParaRPr lang="en-IN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en-US" dirty="0"/>
              <a:t>CLS – Common Language Specification</a:t>
            </a:r>
            <a:endParaRPr lang="en-US" dirty="0">
              <a:latin typeface="Arial"/>
              <a:cs typeface="Arial"/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62212" y="3619500"/>
            <a:ext cx="2510588" cy="2501901"/>
          </a:xfrm>
          <a:prstGeom prst="rect">
            <a:avLst/>
          </a:prstGeom>
        </p:spPr>
      </p:pic>
      <p:sp>
        <p:nvSpPr>
          <p:cNvPr id="7" name="Content Placeholder 1"/>
          <p:cNvSpPr txBox="1">
            <a:spLocks/>
          </p:cNvSpPr>
          <p:nvPr/>
        </p:nvSpPr>
        <p:spPr>
          <a:xfrm>
            <a:off x="457200" y="3149600"/>
            <a:ext cx="7238999" cy="31670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Avenir Book"/>
                <a:ea typeface="+mn-ea"/>
                <a:cs typeface="Avenir Book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Avenir Book"/>
                <a:ea typeface="+mn-ea"/>
                <a:cs typeface="Avenir Book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Avenir Book"/>
                <a:ea typeface="+mn-ea"/>
                <a:cs typeface="Avenir Book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Avenir Book"/>
                <a:ea typeface="+mn-ea"/>
                <a:cs typeface="Avenir Book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Avenir Book"/>
                <a:ea typeface="+mn-ea"/>
                <a:cs typeface="Avenir Book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90000"/>
              </a:lnSpc>
            </a:pPr>
            <a:r>
              <a:rPr lang="en-US" altLang="en-US" sz="2800" dirty="0"/>
              <a:t>Components that adhere to CLS rules are called CLS-compliant</a:t>
            </a:r>
          </a:p>
          <a:p>
            <a:pPr>
              <a:lnSpc>
                <a:spcPct val="90000"/>
              </a:lnSpc>
            </a:pPr>
            <a:endParaRPr lang="en-US" altLang="en-US" sz="2800" dirty="0"/>
          </a:p>
          <a:p>
            <a:pPr>
              <a:lnSpc>
                <a:spcPct val="90000"/>
              </a:lnSpc>
            </a:pPr>
            <a:r>
              <a:rPr lang="en-US" altLang="en-US" sz="2800" dirty="0"/>
              <a:t>CTS is a subset of CLS</a:t>
            </a:r>
          </a:p>
          <a:p>
            <a:endParaRPr lang="en-US" sz="2800" dirty="0">
              <a:latin typeface="+mn-lt"/>
              <a:cs typeface="Arial"/>
            </a:endParaRPr>
          </a:p>
          <a:p>
            <a:endParaRPr lang="en-US" sz="2800" dirty="0">
              <a:latin typeface="+mn-lt"/>
              <a:cs typeface="Arial"/>
            </a:endParaRPr>
          </a:p>
        </p:txBody>
      </p:sp>
      <mc:AlternateContent xmlns:mc="http://schemas.openxmlformats.org/markup-compatibility/2006" xmlns:p14="http://schemas.microsoft.com/office/powerpoint/2010/main">
        <mc:Choice Requires="p14">
          <p:contentPart p14:bwMode="auto" r:id="rId3">
            <p14:nvContentPartPr>
              <p14:cNvPr id="6" name="Ink 5">
                <a:extLst>
                  <a:ext uri="{FF2B5EF4-FFF2-40B4-BE49-F238E27FC236}">
                    <a16:creationId xmlns:a16="http://schemas.microsoft.com/office/drawing/2014/main" id="{93DA4F19-7030-4498-9D3A-AB82753690DE}"/>
                  </a:ext>
                </a:extLst>
              </p14:cNvPr>
              <p14:cNvContentPartPr/>
              <p14:nvPr/>
            </p14:nvContentPartPr>
            <p14:xfrm>
              <a:off x="1225800" y="4254480"/>
              <a:ext cx="520920" cy="317880"/>
            </p14:xfrm>
          </p:contentPart>
        </mc:Choice>
        <mc:Fallback xmlns="">
          <p:pic>
            <p:nvPicPr>
              <p:cNvPr id="6" name="Ink 5">
                <a:extLst>
                  <a:ext uri="{FF2B5EF4-FFF2-40B4-BE49-F238E27FC236}">
                    <a16:creationId xmlns:a16="http://schemas.microsoft.com/office/drawing/2014/main" id="{93DA4F19-7030-4498-9D3A-AB82753690DE}"/>
                  </a:ext>
                </a:extLst>
              </p:cNvPr>
              <p:cNvPicPr/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1216440" y="4245120"/>
                <a:ext cx="539640" cy="336600"/>
              </a:xfrm>
              <a:prstGeom prst="rect">
                <a:avLst/>
              </a:prstGeom>
            </p:spPr>
          </p:pic>
        </mc:Fallback>
      </mc:AlternateContent>
    </p:spTree>
    <p:extLst>
      <p:ext uri="{BB962C8B-B14F-4D97-AF65-F5344CB8AC3E}">
        <p14:creationId xmlns:p14="http://schemas.microsoft.com/office/powerpoint/2010/main" val="17957789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457200" y="1647825"/>
            <a:ext cx="8229600" cy="4525963"/>
          </a:xfrm>
        </p:spPr>
        <p:txBody>
          <a:bodyPr>
            <a:normAutofit/>
          </a:bodyPr>
          <a:lstStyle/>
          <a:p>
            <a:r>
              <a:rPr lang="en-IN" altLang="en-US" sz="2800" dirty="0">
                <a:latin typeface="+mn-lt"/>
              </a:rPr>
              <a:t>It defines the rules which Common Language Runtime follows </a:t>
            </a:r>
            <a:r>
              <a:rPr lang="en-IN" altLang="en-US" sz="2800" dirty="0">
                <a:solidFill>
                  <a:srgbClr val="FF0000"/>
                </a:solidFill>
                <a:latin typeface="+mn-lt"/>
              </a:rPr>
              <a:t>when declaring, using, and managing types</a:t>
            </a:r>
          </a:p>
          <a:p>
            <a:pPr lvl="1"/>
            <a:r>
              <a:rPr lang="en-IN" altLang="en-US" sz="2800" dirty="0">
                <a:latin typeface="+mn-lt"/>
              </a:rPr>
              <a:t>Enables cross language integration</a:t>
            </a:r>
          </a:p>
          <a:p>
            <a:pPr lvl="1"/>
            <a:r>
              <a:rPr lang="en-IN" altLang="en-US" sz="2800" dirty="0">
                <a:latin typeface="+mn-lt"/>
              </a:rPr>
              <a:t>Provides an object oriented model for implementation by many languages</a:t>
            </a:r>
          </a:p>
          <a:p>
            <a:pPr lvl="1"/>
            <a:r>
              <a:rPr lang="en-IN" altLang="en-US" sz="2800" dirty="0">
                <a:solidFill>
                  <a:srgbClr val="FF0000"/>
                </a:solidFill>
                <a:latin typeface="+mn-lt"/>
              </a:rPr>
              <a:t>Defines rules that every language must follow under .NET framework</a:t>
            </a:r>
          </a:p>
          <a:p>
            <a:endParaRPr lang="en-IN" sz="2800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567806B-2C15-4732-8BE4-466CDA07A21C}" type="slidenum">
              <a:rPr lang="en-IN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8</a:t>
            </a:fld>
            <a:endParaRPr lang="en-IN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/>
              <a:t> CTS – Common Type System</a:t>
            </a:r>
          </a:p>
        </p:txBody>
      </p:sp>
    </p:spTree>
    <p:extLst>
      <p:ext uri="{BB962C8B-B14F-4D97-AF65-F5344CB8AC3E}">
        <p14:creationId xmlns:p14="http://schemas.microsoft.com/office/powerpoint/2010/main" val="176372400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sz="2800" dirty="0">
                <a:latin typeface="+mn-lt"/>
              </a:rPr>
              <a:t>FCL – Framework Class Library</a:t>
            </a:r>
          </a:p>
          <a:p>
            <a:r>
              <a:rPr lang="en-US" sz="2800" dirty="0">
                <a:latin typeface="+mn-lt"/>
              </a:rPr>
              <a:t>CLR – Common Language Runtime</a:t>
            </a:r>
            <a:endParaRPr lang="en-IN" sz="2800" dirty="0">
              <a:latin typeface="+mn-lt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567806B-2C15-4732-8BE4-466CDA07A21C}" type="slidenum">
              <a:rPr lang="en-IN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9</a:t>
            </a:fld>
            <a:endParaRPr lang="en-IN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/>
              <a:t>Core of the framework</a:t>
            </a:r>
          </a:p>
        </p:txBody>
      </p:sp>
    </p:spTree>
    <p:extLst>
      <p:ext uri="{BB962C8B-B14F-4D97-AF65-F5344CB8AC3E}">
        <p14:creationId xmlns:p14="http://schemas.microsoft.com/office/powerpoint/2010/main" val="357139884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549</Words>
  <Application>Microsoft Office PowerPoint</Application>
  <PresentationFormat>On-screen Show (4:3)</PresentationFormat>
  <Paragraphs>102</Paragraphs>
  <Slides>17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7</vt:i4>
      </vt:variant>
    </vt:vector>
  </HeadingPairs>
  <TitlesOfParts>
    <vt:vector size="24" baseType="lpstr">
      <vt:lpstr>Arial</vt:lpstr>
      <vt:lpstr>Avenir Book</vt:lpstr>
      <vt:lpstr>Calibri</vt:lpstr>
      <vt:lpstr>Raleway medium</vt:lpstr>
      <vt:lpstr>Wingdings</vt:lpstr>
      <vt:lpstr>1_Office Theme</vt:lpstr>
      <vt:lpstr>think-cell Slide</vt:lpstr>
      <vt:lpstr>What is .NET?</vt:lpstr>
      <vt:lpstr>What is .NET?</vt:lpstr>
      <vt:lpstr>What is a Framework?</vt:lpstr>
      <vt:lpstr>What does the framework provide?</vt:lpstr>
      <vt:lpstr>.NET Framework</vt:lpstr>
      <vt:lpstr>What is CLS?</vt:lpstr>
      <vt:lpstr>CLS – Common Language Specification</vt:lpstr>
      <vt:lpstr> CTS – Common Type System</vt:lpstr>
      <vt:lpstr>Core of the framework</vt:lpstr>
      <vt:lpstr>Common Language Runtime</vt:lpstr>
      <vt:lpstr>Framework Class Library</vt:lpstr>
      <vt:lpstr>C# Code Compilation</vt:lpstr>
      <vt:lpstr> Why .NET? – Points from Suresh</vt:lpstr>
      <vt:lpstr>  Assemblies </vt:lpstr>
      <vt:lpstr>Assemblies contd….</vt:lpstr>
      <vt:lpstr>Global Assembly Cache</vt:lpstr>
      <vt:lpstr>PowerPoint Presentation</vt:lpstr>
    </vt:vector>
  </TitlesOfParts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Rajan Singh</dc:creator>
  <cp:lastModifiedBy>Monisha Nandhakumar</cp:lastModifiedBy>
  <cp:revision>1241</cp:revision>
  <dcterms:created xsi:type="dcterms:W3CDTF">2014-06-30T07:13:18Z</dcterms:created>
  <dcterms:modified xsi:type="dcterms:W3CDTF">2021-07-23T11:53:38Z</dcterms:modified>
</cp:coreProperties>
</file>